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78" r:id="rId16"/>
    <p:sldId id="380" r:id="rId17"/>
    <p:sldId id="372" r:id="rId18"/>
    <p:sldId id="379" r:id="rId19"/>
    <p:sldId id="381" r:id="rId20"/>
    <p:sldId id="312" r:id="rId21"/>
  </p:sldIdLst>
  <p:sldSz cx="12192000" cy="6858000"/>
  <p:notesSz cx="6858000" cy="9144000"/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A0068"/>
    <a:srgbClr val="F0EA00"/>
    <a:srgbClr val="FF6565"/>
    <a:srgbClr val="D7D8D7"/>
    <a:srgbClr val="33CC33"/>
    <a:srgbClr val="FDC35A"/>
    <a:srgbClr val="C3FF69"/>
    <a:srgbClr val="ACACAC"/>
    <a:srgbClr val="6DCDC7"/>
    <a:srgbClr val="7894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792" autoAdjust="0"/>
  </p:normalViewPr>
  <p:slideViewPr>
    <p:cSldViewPr snapToGrid="0">
      <p:cViewPr varScale="1">
        <p:scale>
          <a:sx n="63" d="100"/>
          <a:sy n="63" d="100"/>
        </p:scale>
        <p:origin x="732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19/03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11" Type="http://schemas.openxmlformats.org/officeDocument/2006/relationships/image" Target="../media/image30.png"/><Relationship Id="rId5" Type="http://schemas.openxmlformats.org/officeDocument/2006/relationships/image" Target="../media/image1.emf"/><Relationship Id="rId10" Type="http://schemas.openxmlformats.org/officeDocument/2006/relationships/image" Target="../media/image29.jpe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53B95B14-FE81-4C93-A983-7567F9FC4647}"/>
              </a:ext>
            </a:extLst>
          </p:cNvPr>
          <p:cNvSpPr/>
          <p:nvPr/>
        </p:nvSpPr>
        <p:spPr>
          <a:xfrm>
            <a:off x="817391" y="1692436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Entrainement sur training réduit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avec cross validation et optimisation des hyperparamètres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3601732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6386073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9170414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du modèle choisi sur jeu training et jeu de test</a:t>
            </a:r>
          </a:p>
        </p:txBody>
      </p:sp>
      <p:sp>
        <p:nvSpPr>
          <p:cNvPr id="104" name="Rectangle : coins arrondis 103">
            <a:extLst>
              <a:ext uri="{FF2B5EF4-FFF2-40B4-BE49-F238E27FC236}">
                <a16:creationId xmlns:a16="http://schemas.microsoft.com/office/drawing/2014/main" id="{EAB334AA-3778-425D-9743-1DC908CCD7C3}"/>
              </a:ext>
            </a:extLst>
          </p:cNvPr>
          <p:cNvSpPr/>
          <p:nvPr/>
        </p:nvSpPr>
        <p:spPr>
          <a:xfrm>
            <a:off x="817391" y="3234332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Sélectionner l’approche pour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solutionner la problématique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du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déséquilibre entre les classes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3601732" y="3217198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6386073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9170414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Bilan des performances de notre meilleur modèle pour notre problème de classification</a:t>
            </a:r>
          </a:p>
        </p:txBody>
      </p:sp>
      <p:sp>
        <p:nvSpPr>
          <p:cNvPr id="108" name="Rectangle : coins arrondis 107">
            <a:extLst>
              <a:ext uri="{FF2B5EF4-FFF2-40B4-BE49-F238E27FC236}">
                <a16:creationId xmlns:a16="http://schemas.microsoft.com/office/drawing/2014/main" id="{91FFB5F0-9642-4731-8C9B-E78DC8245269}"/>
              </a:ext>
            </a:extLst>
          </p:cNvPr>
          <p:cNvSpPr/>
          <p:nvPr/>
        </p:nvSpPr>
        <p:spPr>
          <a:xfrm>
            <a:off x="817391" y="4833677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Pondération des observations </a:t>
            </a: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dans l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Choix d’une </a:t>
            </a: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métrique de perf. adaptée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3601732" y="481654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6386073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9170414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365583" y="1675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365583" y="3217200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365583" y="4816545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772873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21112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C8E639C-FDFB-4A1C-8AE0-2124E2462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028" y="1723165"/>
            <a:ext cx="3959265" cy="612000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A936B0A-F461-4437-833C-E9EFC6B17B0C}"/>
              </a:ext>
            </a:extLst>
          </p:cNvPr>
          <p:cNvCxnSpPr/>
          <p:nvPr/>
        </p:nvCxnSpPr>
        <p:spPr>
          <a:xfrm>
            <a:off x="4851458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63E2CB8-414C-46B5-84AB-F67AB1858E75}"/>
              </a:ext>
            </a:extLst>
          </p:cNvPr>
          <p:cNvCxnSpPr/>
          <p:nvPr/>
        </p:nvCxnSpPr>
        <p:spPr>
          <a:xfrm>
            <a:off x="4900775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72240B4A-9A6A-4057-BBC0-DD5B43361817}"/>
              </a:ext>
            </a:extLst>
          </p:cNvPr>
          <p:cNvSpPr/>
          <p:nvPr/>
        </p:nvSpPr>
        <p:spPr>
          <a:xfrm>
            <a:off x="430458" y="2478841"/>
            <a:ext cx="4266273" cy="373195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à </a:t>
            </a:r>
            <a:r>
              <a:rPr lang="fr-FR" b="1" dirty="0">
                <a:solidFill>
                  <a:srgbClr val="2A0068"/>
                </a:solidFill>
              </a:rPr>
              <a:t>prédire le taux de faux négatifs </a:t>
            </a:r>
            <a:r>
              <a:rPr lang="fr-FR" dirty="0">
                <a:solidFill>
                  <a:srgbClr val="2A0068"/>
                </a:solidFill>
              </a:rPr>
              <a:t>en tout premier lieu et </a:t>
            </a:r>
            <a:r>
              <a:rPr lang="fr-FR" b="1" dirty="0">
                <a:solidFill>
                  <a:srgbClr val="2A0068"/>
                </a:solidFill>
              </a:rPr>
              <a:t>les faux positifs </a:t>
            </a:r>
            <a:r>
              <a:rPr lang="fr-FR" dirty="0">
                <a:solidFill>
                  <a:srgbClr val="2A0068"/>
                </a:solidFill>
              </a:rPr>
              <a:t>en second lieu 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donc un </a:t>
            </a:r>
            <a:r>
              <a:rPr lang="fr-FR" b="1" dirty="0">
                <a:solidFill>
                  <a:srgbClr val="2A0068"/>
                </a:solidFill>
              </a:rPr>
              <a:t>compromis entre recall et précision</a:t>
            </a:r>
            <a:r>
              <a:rPr lang="fr-FR" dirty="0">
                <a:solidFill>
                  <a:srgbClr val="2A0068"/>
                </a:solidFill>
              </a:rPr>
              <a:t>, qui </a:t>
            </a:r>
            <a:r>
              <a:rPr lang="fr-FR" b="1" dirty="0">
                <a:solidFill>
                  <a:srgbClr val="2A0068"/>
                </a:solidFill>
              </a:rPr>
              <a:t>peut se formaliser dans le score F-bêta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Il s’agit de la </a:t>
            </a:r>
            <a:r>
              <a:rPr lang="fr-FR" b="1" dirty="0">
                <a:solidFill>
                  <a:srgbClr val="2A0068"/>
                </a:solidFill>
              </a:rPr>
              <a:t>moyenne harmonique pondérée de la précision et du rappel</a:t>
            </a:r>
            <a:r>
              <a:rPr lang="fr-FR" dirty="0">
                <a:solidFill>
                  <a:srgbClr val="2A0068"/>
                </a:solidFill>
              </a:rPr>
              <a:t>, atteignant sa valeur optimale à 1 et sa pire valeur à 0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Le </a:t>
            </a:r>
            <a:r>
              <a:rPr lang="fr-FR" b="1" dirty="0">
                <a:solidFill>
                  <a:srgbClr val="2A0068"/>
                </a:solidFill>
              </a:rPr>
              <a:t>paramètre beta détermine le poids du rappel dans le score combiné ; p</a:t>
            </a:r>
            <a:r>
              <a:rPr lang="fr-FR" b="1" i="0" dirty="0">
                <a:solidFill>
                  <a:srgbClr val="2A0068"/>
                </a:solidFill>
                <a:effectLst/>
              </a:rPr>
              <a:t>our β≥1, on accorde plus d’importance au recall </a:t>
            </a:r>
            <a:r>
              <a:rPr lang="fr-FR" i="0" dirty="0">
                <a:solidFill>
                  <a:srgbClr val="2A0068"/>
                </a:solidFill>
                <a:effectLst/>
              </a:rPr>
              <a:t>(autrement dit aux faux négatif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5139658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7341326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9527763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Forêt Aléatoire</a:t>
            </a:r>
          </a:p>
        </p:txBody>
      </p:sp>
      <p:pic>
        <p:nvPicPr>
          <p:cNvPr id="8" name="Graphique 7" descr="Couronne avec un remplissage uni">
            <a:extLst>
              <a:ext uri="{FF2B5EF4-FFF2-40B4-BE49-F238E27FC236}">
                <a16:creationId xmlns:a16="http://schemas.microsoft.com/office/drawing/2014/main" id="{E26B4516-BA5E-4AA3-98D2-5B708A9517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61813" y="2021641"/>
            <a:ext cx="914400" cy="9144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182E59C-5CD5-41A2-83EF-D8ACB7C7A715}"/>
              </a:ext>
            </a:extLst>
          </p:cNvPr>
          <p:cNvSpPr/>
          <p:nvPr/>
        </p:nvSpPr>
        <p:spPr>
          <a:xfrm>
            <a:off x="5129498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D2B75-6C6A-4F58-8259-67D561D582C2}"/>
              </a:ext>
            </a:extLst>
          </p:cNvPr>
          <p:cNvSpPr/>
          <p:nvPr/>
        </p:nvSpPr>
        <p:spPr>
          <a:xfrm>
            <a:off x="7341326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3. Dashboard réalisé</a:t>
            </a:r>
          </a:p>
          <a:p>
            <a:r>
              <a:rPr lang="fr-FR" sz="4000" dirty="0"/>
              <a:t>	Outils utilisés</a:t>
            </a:r>
          </a:p>
          <a:p>
            <a:r>
              <a:rPr lang="fr-FR" sz="4000" dirty="0"/>
              <a:t>	Démo du dashboard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u dashboard réalisé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i="1" dirty="0">
                <a:solidFill>
                  <a:schemeClr val="tx1"/>
                </a:solidFill>
              </a:rPr>
              <a:t>Vidéo sur le dashboard à insérer ici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Architecture réalisé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844" name="Picture 4" descr="Agence Expert Python pour FinTech">
            <a:extLst>
              <a:ext uri="{FF2B5EF4-FFF2-40B4-BE49-F238E27FC236}">
                <a16:creationId xmlns:a16="http://schemas.microsoft.com/office/drawing/2014/main" id="{23B4D162-3AAD-41D9-B965-21CD65A2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798" y="1649487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559369B-801C-44F6-ACD4-D74F38F8C2E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78" t="23716" r="15778" b="17421"/>
          <a:stretch/>
        </p:blipFill>
        <p:spPr>
          <a:xfrm>
            <a:off x="6970761" y="4488513"/>
            <a:ext cx="1546127" cy="720000"/>
          </a:xfrm>
          <a:prstGeom prst="rect">
            <a:avLst/>
          </a:prstGeom>
        </p:spPr>
      </p:pic>
      <p:pic>
        <p:nvPicPr>
          <p:cNvPr id="37890" name="Picture 2" descr="Heroku Apache Kafka expliqué">
            <a:extLst>
              <a:ext uri="{FF2B5EF4-FFF2-40B4-BE49-F238E27FC236}">
                <a16:creationId xmlns:a16="http://schemas.microsoft.com/office/drawing/2014/main" id="{01997F9B-214C-4484-A761-45B5A5D78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9" t="20102" r="5756" b="18784"/>
          <a:stretch/>
        </p:blipFill>
        <p:spPr bwMode="auto">
          <a:xfrm>
            <a:off x="3935472" y="2943687"/>
            <a:ext cx="2057706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E077105-4172-4363-AD97-983CE2204C0A}"/>
              </a:ext>
            </a:extLst>
          </p:cNvPr>
          <p:cNvSpPr/>
          <p:nvPr/>
        </p:nvSpPr>
        <p:spPr>
          <a:xfrm>
            <a:off x="3050331" y="3606800"/>
            <a:ext cx="3827989" cy="2570480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>
              <a:solidFill>
                <a:srgbClr val="2A0068"/>
              </a:solidFill>
            </a:endParaRPr>
          </a:p>
        </p:txBody>
      </p:sp>
      <p:pic>
        <p:nvPicPr>
          <p:cNvPr id="37894" name="Picture 6" descr="15' POUR COMPRENDRE : Git et GitHub">
            <a:extLst>
              <a:ext uri="{FF2B5EF4-FFF2-40B4-BE49-F238E27FC236}">
                <a16:creationId xmlns:a16="http://schemas.microsoft.com/office/drawing/2014/main" id="{AA0ED2A2-B935-455C-BC1F-1E3C5CD881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17" t="29094" r="10082" b="28463"/>
          <a:stretch/>
        </p:blipFill>
        <p:spPr bwMode="auto">
          <a:xfrm>
            <a:off x="6549708" y="2589244"/>
            <a:ext cx="230706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 descr="15' POUR COMPRENDRE : Git et GitHub">
            <a:extLst>
              <a:ext uri="{FF2B5EF4-FFF2-40B4-BE49-F238E27FC236}">
                <a16:creationId xmlns:a16="http://schemas.microsoft.com/office/drawing/2014/main" id="{7FD9E524-A9DD-4E58-8791-F9DA20504D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6" t="29094" r="59451" b="28463"/>
          <a:stretch/>
        </p:blipFill>
        <p:spPr bwMode="auto">
          <a:xfrm>
            <a:off x="3361227" y="1325305"/>
            <a:ext cx="1662867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93833CD-769F-4EED-9255-94262FD7DA52}"/>
              </a:ext>
            </a:extLst>
          </p:cNvPr>
          <p:cNvSpPr/>
          <p:nvPr/>
        </p:nvSpPr>
        <p:spPr>
          <a:xfrm>
            <a:off x="3219192" y="3865958"/>
            <a:ext cx="1992888" cy="746681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Modèle ML</a:t>
            </a:r>
          </a:p>
          <a:p>
            <a:pPr algn="ctr"/>
            <a:r>
              <a:rPr lang="fr-FR" dirty="0">
                <a:solidFill>
                  <a:srgbClr val="2A0068"/>
                </a:solidFill>
              </a:rPr>
              <a:t>Model</a:t>
            </a:r>
          </a:p>
          <a:p>
            <a:pPr algn="ctr"/>
            <a:r>
              <a:rPr lang="fr-FR" dirty="0">
                <a:solidFill>
                  <a:srgbClr val="2A0068"/>
                </a:solidFill>
              </a:rPr>
              <a:t>Fichier pickle </a:t>
            </a:r>
            <a:r>
              <a:rPr lang="fr-FR" dirty="0" err="1">
                <a:solidFill>
                  <a:srgbClr val="2A0068"/>
                </a:solidFill>
              </a:rPr>
              <a:t>model.pkl</a:t>
            </a:r>
            <a:endParaRPr lang="fr-FR" dirty="0">
              <a:solidFill>
                <a:srgbClr val="2A0068"/>
              </a:solidFill>
            </a:endParaRPr>
          </a:p>
        </p:txBody>
      </p:sp>
      <p:pic>
        <p:nvPicPr>
          <p:cNvPr id="37896" name="Picture 8" descr="Jupyter — Wikipédia">
            <a:extLst>
              <a:ext uri="{FF2B5EF4-FFF2-40B4-BE49-F238E27FC236}">
                <a16:creationId xmlns:a16="http://schemas.microsoft.com/office/drawing/2014/main" id="{7871F3C4-18B9-414F-8317-3811E973F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345" y="3606800"/>
            <a:ext cx="621167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33D0210-2317-4BBD-AD59-087978B8AD5B}"/>
              </a:ext>
            </a:extLst>
          </p:cNvPr>
          <p:cNvSpPr/>
          <p:nvPr/>
        </p:nvSpPr>
        <p:spPr>
          <a:xfrm>
            <a:off x="3219191" y="5176742"/>
            <a:ext cx="1992887" cy="746681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Data client</a:t>
            </a:r>
          </a:p>
          <a:p>
            <a:pPr algn="ctr"/>
            <a:r>
              <a:rPr lang="fr-FR" sz="1400" i="1" dirty="0">
                <a:solidFill>
                  <a:srgbClr val="2A0068"/>
                </a:solidFill>
              </a:rPr>
              <a:t>Dataframe pandas df_tes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51E5D42-92D2-418D-BBB6-ECB1145D1B50}"/>
              </a:ext>
            </a:extLst>
          </p:cNvPr>
          <p:cNvSpPr/>
          <p:nvPr/>
        </p:nvSpPr>
        <p:spPr>
          <a:xfrm>
            <a:off x="5526568" y="4130341"/>
            <a:ext cx="1992887" cy="1610059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App avec api </a:t>
            </a:r>
          </a:p>
          <a:p>
            <a:pPr algn="ctr"/>
            <a:r>
              <a:rPr lang="fr-FR" sz="2000" b="1" dirty="0">
                <a:solidFill>
                  <a:srgbClr val="2A0068"/>
                </a:solidFill>
              </a:rPr>
              <a:t>Fichier python app.p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76962C6-34BC-4A17-B727-20BC7C3BE4F1}"/>
              </a:ext>
            </a:extLst>
          </p:cNvPr>
          <p:cNvSpPr/>
          <p:nvPr/>
        </p:nvSpPr>
        <p:spPr>
          <a:xfrm>
            <a:off x="448486" y="3555687"/>
            <a:ext cx="1992887" cy="1339888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3738B37-5118-44E0-B806-04624B6CD69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5627" y="4475067"/>
            <a:ext cx="1971675" cy="73342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A46BB3A-B508-4C01-98EF-2226F34243A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92660" y="4155928"/>
            <a:ext cx="1162050" cy="409575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8D58D66-3749-45C7-83B9-B428E4D1593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92430" y="5268064"/>
            <a:ext cx="1000125" cy="10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640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5720682" y="1991360"/>
            <a:ext cx="5813316" cy="4134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– </a:t>
            </a:r>
            <a:r>
              <a:rPr lang="fr-FR" dirty="0">
                <a:solidFill>
                  <a:srgbClr val="2A0068"/>
                </a:solidFill>
              </a:rPr>
              <a:t>Présentation du dashboard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(s)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TextBox 26">
            <a:extLst>
              <a:ext uri="{FF2B5EF4-FFF2-40B4-BE49-F238E27FC236}">
                <a16:creationId xmlns:a16="http://schemas.microsoft.com/office/drawing/2014/main" id="{1351EC1C-2D90-44A5-A689-54F3174F5D2C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0530EC2B-C78B-4892-A2E7-C994E9116139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ise en place du 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Traitement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colonnes problématiques par rapport à nos attent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TextBox 26">
            <a:extLst>
              <a:ext uri="{FF2B5EF4-FFF2-40B4-BE49-F238E27FC236}">
                <a16:creationId xmlns:a16="http://schemas.microsoft.com/office/drawing/2014/main" id="{29A8A82A-5F33-4900-AD80-E2EB21EE644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credit_payment_typ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applicant_ag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69762398-4E11-49BE-B1BF-AA6921023FD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des individus sous-représentés </a:t>
            </a:r>
            <a:r>
              <a:rPr lang="fr-FR" sz="1800" dirty="0">
                <a:solidFill>
                  <a:srgbClr val="2A0068"/>
                </a:solidFill>
              </a:rPr>
              <a:t>(ici </a:t>
            </a:r>
            <a:r>
              <a:rPr lang="fr-FR" dirty="0">
                <a:solidFill>
                  <a:srgbClr val="2A0068"/>
                </a:solidFill>
              </a:rPr>
              <a:t>dans la </a:t>
            </a:r>
            <a:r>
              <a:rPr lang="fr-FR" sz="1800" dirty="0">
                <a:solidFill>
                  <a:srgbClr val="2A0068"/>
                </a:solidFill>
              </a:rPr>
              <a:t>classe minoritaire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oisir 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ation des observations</a:t>
            </a:r>
            <a:r>
              <a:rPr lang="fr-FR" sz="1800" dirty="0">
                <a:solidFill>
                  <a:srgbClr val="2A0068"/>
                </a:solidFill>
              </a:rPr>
              <a:t> dans le trai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ation d’individus « synthétiques »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sélectionné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919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5872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87</TotalTime>
  <Words>1125</Words>
  <Application>Microsoft Office PowerPoint</Application>
  <PresentationFormat>Grand écran</PresentationFormat>
  <Paragraphs>219</Paragraphs>
  <Slides>17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4" baseType="lpstr">
      <vt:lpstr>Arial</vt:lpstr>
      <vt:lpstr>Baloo</vt:lpstr>
      <vt:lpstr>Calibri</vt:lpstr>
      <vt:lpstr>Calibri Light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05</cp:revision>
  <dcterms:created xsi:type="dcterms:W3CDTF">2021-01-14T09:36:12Z</dcterms:created>
  <dcterms:modified xsi:type="dcterms:W3CDTF">2022-03-19T09:5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